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17"/>
  </p:notesMasterIdLst>
  <p:sldIdLst>
    <p:sldId id="256" r:id="rId2"/>
    <p:sldId id="261" r:id="rId3"/>
    <p:sldId id="293" r:id="rId4"/>
    <p:sldId id="289" r:id="rId5"/>
    <p:sldId id="295" r:id="rId6"/>
    <p:sldId id="291" r:id="rId7"/>
    <p:sldId id="281" r:id="rId8"/>
    <p:sldId id="298" r:id="rId9"/>
    <p:sldId id="292" r:id="rId10"/>
    <p:sldId id="287" r:id="rId11"/>
    <p:sldId id="284" r:id="rId12"/>
    <p:sldId id="296" r:id="rId13"/>
    <p:sldId id="294" r:id="rId14"/>
    <p:sldId id="283" r:id="rId15"/>
    <p:sldId id="297" r:id="rId16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Technika-Bold" panose="00000600000000000000" charset="-18"/>
      <p:regular r:id="rId22"/>
    </p:embeddedFont>
    <p:embeddedFont>
      <p:font typeface="Technika" panose="020B0604020202020204" charset="-18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8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smtClean="0"/>
              <a:t>Meeting; May</a:t>
            </a:r>
            <a:r>
              <a:rPr lang="cs-CZ" sz="1400" baseline="0" dirty="0" smtClean="0"/>
              <a:t> 4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0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0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10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oleObject" Target="../embeddings/oleObject5.bin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image" Target="../media/image1.emf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CASA:</a:t>
            </a:r>
            <a:br>
              <a:rPr lang="en-US" sz="4400" dirty="0" smtClean="0"/>
            </a:br>
            <a:r>
              <a:rPr lang="cs-CZ" sz="4400" dirty="0" err="1" smtClean="0"/>
              <a:t>Final</a:t>
            </a:r>
            <a:r>
              <a:rPr lang="cs-CZ" sz="4400" dirty="0" smtClean="0"/>
              <a:t> Project </a:t>
            </a:r>
            <a:r>
              <a:rPr lang="cs-CZ" sz="4400" dirty="0" err="1" smtClean="0"/>
              <a:t>Presentation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smtClean="0"/>
              <a:t>May </a:t>
            </a:r>
            <a:r>
              <a:rPr lang="cs-CZ" dirty="0" err="1" smtClean="0"/>
              <a:t>xx</a:t>
            </a:r>
            <a:r>
              <a:rPr lang="cs-CZ" dirty="0" smtClean="0"/>
              <a:t>, </a:t>
            </a:r>
            <a:r>
              <a:rPr lang="cs-CZ" dirty="0" smtClean="0"/>
              <a:t>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4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/>
                <a:t>Review</a:t>
              </a:r>
              <a:r>
                <a:rPr lang="cs-CZ" sz="2000" b="1" dirty="0"/>
                <a:t> </a:t>
              </a:r>
              <a:r>
                <a:rPr lang="cs-CZ" sz="2000" b="1" dirty="0" err="1"/>
                <a:t>code</a:t>
              </a:r>
              <a:r>
                <a:rPr lang="cs-CZ" sz="2000" b="1" dirty="0"/>
                <a:t> </a:t>
              </a:r>
              <a:r>
                <a:rPr lang="cs-CZ" sz="2000" b="1" dirty="0" err="1" smtClean="0"/>
                <a:t>tes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Defin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nex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step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en-US" sz="2000" b="1" dirty="0"/>
                <a:t>Present </a:t>
              </a:r>
              <a:r>
                <a:rPr lang="en-US" sz="2000" b="1" dirty="0" smtClean="0"/>
                <a:t>overview of project</a:t>
              </a:r>
              <a:r>
                <a:rPr lang="cs-CZ" sz="2000" b="1" dirty="0" smtClean="0"/>
                <a:t> status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cod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transla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730" y="2535381"/>
            <a:ext cx="4428211" cy="19553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731" y="4232185"/>
            <a:ext cx="8410224" cy="21843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8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wo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endParaRPr lang="cs-CZ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tachment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R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isen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r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test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b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e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ready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place - 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4132428" y="2716527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1346969" y="2665835"/>
            <a:ext cx="678054" cy="848116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 bwMode="auto">
          <a:xfrm>
            <a:off x="7051329" y="2644797"/>
            <a:ext cx="804274" cy="861290"/>
            <a:chOff x="1586" y="519"/>
            <a:chExt cx="3061" cy="3278"/>
          </a:xfrm>
          <a:solidFill>
            <a:schemeClr val="accent5"/>
          </a:solidFill>
        </p:grpSpPr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445" y="2485"/>
              <a:ext cx="437" cy="110"/>
            </a:xfrm>
            <a:custGeom>
              <a:avLst/>
              <a:gdLst>
                <a:gd name="T0" fmla="*/ 110 w 876"/>
                <a:gd name="T1" fmla="*/ 0 h 219"/>
                <a:gd name="T2" fmla="*/ 766 w 876"/>
                <a:gd name="T3" fmla="*/ 0 h 219"/>
                <a:gd name="T4" fmla="*/ 800 w 876"/>
                <a:gd name="T5" fmla="*/ 6 h 219"/>
                <a:gd name="T6" fmla="*/ 830 w 876"/>
                <a:gd name="T7" fmla="*/ 22 h 219"/>
                <a:gd name="T8" fmla="*/ 854 w 876"/>
                <a:gd name="T9" fmla="*/ 46 h 219"/>
                <a:gd name="T10" fmla="*/ 870 w 876"/>
                <a:gd name="T11" fmla="*/ 76 h 219"/>
                <a:gd name="T12" fmla="*/ 876 w 876"/>
                <a:gd name="T13" fmla="*/ 109 h 219"/>
                <a:gd name="T14" fmla="*/ 870 w 876"/>
                <a:gd name="T15" fmla="*/ 145 h 219"/>
                <a:gd name="T16" fmla="*/ 854 w 876"/>
                <a:gd name="T17" fmla="*/ 175 h 219"/>
                <a:gd name="T18" fmla="*/ 830 w 876"/>
                <a:gd name="T19" fmla="*/ 199 h 219"/>
                <a:gd name="T20" fmla="*/ 800 w 876"/>
                <a:gd name="T21" fmla="*/ 213 h 219"/>
                <a:gd name="T22" fmla="*/ 766 w 876"/>
                <a:gd name="T23" fmla="*/ 219 h 219"/>
                <a:gd name="T24" fmla="*/ 110 w 876"/>
                <a:gd name="T25" fmla="*/ 219 h 219"/>
                <a:gd name="T26" fmla="*/ 76 w 876"/>
                <a:gd name="T27" fmla="*/ 213 h 219"/>
                <a:gd name="T28" fmla="*/ 44 w 876"/>
                <a:gd name="T29" fmla="*/ 199 h 219"/>
                <a:gd name="T30" fmla="*/ 22 w 876"/>
                <a:gd name="T31" fmla="*/ 175 h 219"/>
                <a:gd name="T32" fmla="*/ 6 w 876"/>
                <a:gd name="T33" fmla="*/ 145 h 219"/>
                <a:gd name="T34" fmla="*/ 0 w 876"/>
                <a:gd name="T35" fmla="*/ 109 h 219"/>
                <a:gd name="T36" fmla="*/ 6 w 876"/>
                <a:gd name="T37" fmla="*/ 76 h 219"/>
                <a:gd name="T38" fmla="*/ 22 w 876"/>
                <a:gd name="T39" fmla="*/ 46 h 219"/>
                <a:gd name="T40" fmla="*/ 44 w 876"/>
                <a:gd name="T41" fmla="*/ 22 h 219"/>
                <a:gd name="T42" fmla="*/ 76 w 876"/>
                <a:gd name="T43" fmla="*/ 6 h 219"/>
                <a:gd name="T44" fmla="*/ 110 w 876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6" h="219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2"/>
                  </a:lnTo>
                  <a:lnTo>
                    <a:pt x="854" y="46"/>
                  </a:lnTo>
                  <a:lnTo>
                    <a:pt x="870" y="76"/>
                  </a:lnTo>
                  <a:lnTo>
                    <a:pt x="876" y="109"/>
                  </a:lnTo>
                  <a:lnTo>
                    <a:pt x="870" y="145"/>
                  </a:lnTo>
                  <a:lnTo>
                    <a:pt x="854" y="175"/>
                  </a:lnTo>
                  <a:lnTo>
                    <a:pt x="830" y="199"/>
                  </a:lnTo>
                  <a:lnTo>
                    <a:pt x="800" y="213"/>
                  </a:lnTo>
                  <a:lnTo>
                    <a:pt x="766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3554" y="792"/>
              <a:ext cx="875" cy="1693"/>
            </a:xfrm>
            <a:custGeom>
              <a:avLst/>
              <a:gdLst>
                <a:gd name="T0" fmla="*/ 108 w 1749"/>
                <a:gd name="T1" fmla="*/ 0 h 3387"/>
                <a:gd name="T2" fmla="*/ 144 w 1749"/>
                <a:gd name="T3" fmla="*/ 6 h 3387"/>
                <a:gd name="T4" fmla="*/ 174 w 1749"/>
                <a:gd name="T5" fmla="*/ 22 h 3387"/>
                <a:gd name="T6" fmla="*/ 198 w 1749"/>
                <a:gd name="T7" fmla="*/ 46 h 3387"/>
                <a:gd name="T8" fmla="*/ 212 w 1749"/>
                <a:gd name="T9" fmla="*/ 76 h 3387"/>
                <a:gd name="T10" fmla="*/ 218 w 1749"/>
                <a:gd name="T11" fmla="*/ 110 h 3387"/>
                <a:gd name="T12" fmla="*/ 218 w 1749"/>
                <a:gd name="T13" fmla="*/ 656 h 3387"/>
                <a:gd name="T14" fmla="*/ 224 w 1749"/>
                <a:gd name="T15" fmla="*/ 716 h 3387"/>
                <a:gd name="T16" fmla="*/ 240 w 1749"/>
                <a:gd name="T17" fmla="*/ 770 h 3387"/>
                <a:gd name="T18" fmla="*/ 264 w 1749"/>
                <a:gd name="T19" fmla="*/ 821 h 3387"/>
                <a:gd name="T20" fmla="*/ 296 w 1749"/>
                <a:gd name="T21" fmla="*/ 867 h 3387"/>
                <a:gd name="T22" fmla="*/ 335 w 1749"/>
                <a:gd name="T23" fmla="*/ 907 h 3387"/>
                <a:gd name="T24" fmla="*/ 381 w 1749"/>
                <a:gd name="T25" fmla="*/ 939 h 3387"/>
                <a:gd name="T26" fmla="*/ 431 w 1749"/>
                <a:gd name="T27" fmla="*/ 963 h 3387"/>
                <a:gd name="T28" fmla="*/ 487 w 1749"/>
                <a:gd name="T29" fmla="*/ 979 h 3387"/>
                <a:gd name="T30" fmla="*/ 547 w 1749"/>
                <a:gd name="T31" fmla="*/ 985 h 3387"/>
                <a:gd name="T32" fmla="*/ 1640 w 1749"/>
                <a:gd name="T33" fmla="*/ 985 h 3387"/>
                <a:gd name="T34" fmla="*/ 1674 w 1749"/>
                <a:gd name="T35" fmla="*/ 989 h 3387"/>
                <a:gd name="T36" fmla="*/ 1703 w 1749"/>
                <a:gd name="T37" fmla="*/ 1005 h 3387"/>
                <a:gd name="T38" fmla="*/ 1727 w 1749"/>
                <a:gd name="T39" fmla="*/ 1029 h 3387"/>
                <a:gd name="T40" fmla="*/ 1743 w 1749"/>
                <a:gd name="T41" fmla="*/ 1059 h 3387"/>
                <a:gd name="T42" fmla="*/ 1749 w 1749"/>
                <a:gd name="T43" fmla="*/ 1092 h 3387"/>
                <a:gd name="T44" fmla="*/ 1749 w 1749"/>
                <a:gd name="T45" fmla="*/ 3279 h 3387"/>
                <a:gd name="T46" fmla="*/ 1743 w 1749"/>
                <a:gd name="T47" fmla="*/ 3313 h 3387"/>
                <a:gd name="T48" fmla="*/ 1727 w 1749"/>
                <a:gd name="T49" fmla="*/ 3343 h 3387"/>
                <a:gd name="T50" fmla="*/ 1703 w 1749"/>
                <a:gd name="T51" fmla="*/ 3367 h 3387"/>
                <a:gd name="T52" fmla="*/ 1674 w 1749"/>
                <a:gd name="T53" fmla="*/ 3383 h 3387"/>
                <a:gd name="T54" fmla="*/ 1640 w 1749"/>
                <a:gd name="T55" fmla="*/ 3387 h 3387"/>
                <a:gd name="T56" fmla="*/ 1606 w 1749"/>
                <a:gd name="T57" fmla="*/ 3383 h 3387"/>
                <a:gd name="T58" fmla="*/ 1574 w 1749"/>
                <a:gd name="T59" fmla="*/ 3367 h 3387"/>
                <a:gd name="T60" fmla="*/ 1552 w 1749"/>
                <a:gd name="T61" fmla="*/ 3343 h 3387"/>
                <a:gd name="T62" fmla="*/ 1536 w 1749"/>
                <a:gd name="T63" fmla="*/ 3313 h 3387"/>
                <a:gd name="T64" fmla="*/ 1530 w 1749"/>
                <a:gd name="T65" fmla="*/ 3279 h 3387"/>
                <a:gd name="T66" fmla="*/ 1530 w 1749"/>
                <a:gd name="T67" fmla="*/ 1202 h 3387"/>
                <a:gd name="T68" fmla="*/ 547 w 1749"/>
                <a:gd name="T69" fmla="*/ 1202 h 3387"/>
                <a:gd name="T70" fmla="*/ 465 w 1749"/>
                <a:gd name="T71" fmla="*/ 1196 h 3387"/>
                <a:gd name="T72" fmla="*/ 389 w 1749"/>
                <a:gd name="T73" fmla="*/ 1180 h 3387"/>
                <a:gd name="T74" fmla="*/ 316 w 1749"/>
                <a:gd name="T75" fmla="*/ 1152 h 3387"/>
                <a:gd name="T76" fmla="*/ 250 w 1749"/>
                <a:gd name="T77" fmla="*/ 1114 h 3387"/>
                <a:gd name="T78" fmla="*/ 188 w 1749"/>
                <a:gd name="T79" fmla="*/ 1069 h 3387"/>
                <a:gd name="T80" fmla="*/ 134 w 1749"/>
                <a:gd name="T81" fmla="*/ 1015 h 3387"/>
                <a:gd name="T82" fmla="*/ 88 w 1749"/>
                <a:gd name="T83" fmla="*/ 953 h 3387"/>
                <a:gd name="T84" fmla="*/ 50 w 1749"/>
                <a:gd name="T85" fmla="*/ 887 h 3387"/>
                <a:gd name="T86" fmla="*/ 22 w 1749"/>
                <a:gd name="T87" fmla="*/ 813 h 3387"/>
                <a:gd name="T88" fmla="*/ 6 w 1749"/>
                <a:gd name="T89" fmla="*/ 738 h 3387"/>
                <a:gd name="T90" fmla="*/ 0 w 1749"/>
                <a:gd name="T91" fmla="*/ 656 h 3387"/>
                <a:gd name="T92" fmla="*/ 0 w 1749"/>
                <a:gd name="T93" fmla="*/ 110 h 3387"/>
                <a:gd name="T94" fmla="*/ 4 w 1749"/>
                <a:gd name="T95" fmla="*/ 76 h 3387"/>
                <a:gd name="T96" fmla="*/ 20 w 1749"/>
                <a:gd name="T97" fmla="*/ 46 h 3387"/>
                <a:gd name="T98" fmla="*/ 44 w 1749"/>
                <a:gd name="T99" fmla="*/ 22 h 3387"/>
                <a:gd name="T100" fmla="*/ 74 w 1749"/>
                <a:gd name="T101" fmla="*/ 6 h 3387"/>
                <a:gd name="T102" fmla="*/ 108 w 1749"/>
                <a:gd name="T103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9" h="3387">
                  <a:moveTo>
                    <a:pt x="108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2" y="76"/>
                  </a:lnTo>
                  <a:lnTo>
                    <a:pt x="218" y="110"/>
                  </a:lnTo>
                  <a:lnTo>
                    <a:pt x="218" y="656"/>
                  </a:lnTo>
                  <a:lnTo>
                    <a:pt x="224" y="716"/>
                  </a:lnTo>
                  <a:lnTo>
                    <a:pt x="240" y="770"/>
                  </a:lnTo>
                  <a:lnTo>
                    <a:pt x="264" y="821"/>
                  </a:lnTo>
                  <a:lnTo>
                    <a:pt x="296" y="867"/>
                  </a:lnTo>
                  <a:lnTo>
                    <a:pt x="335" y="907"/>
                  </a:lnTo>
                  <a:lnTo>
                    <a:pt x="381" y="939"/>
                  </a:lnTo>
                  <a:lnTo>
                    <a:pt x="431" y="963"/>
                  </a:lnTo>
                  <a:lnTo>
                    <a:pt x="487" y="979"/>
                  </a:lnTo>
                  <a:lnTo>
                    <a:pt x="547" y="985"/>
                  </a:lnTo>
                  <a:lnTo>
                    <a:pt x="1640" y="985"/>
                  </a:lnTo>
                  <a:lnTo>
                    <a:pt x="1674" y="989"/>
                  </a:lnTo>
                  <a:lnTo>
                    <a:pt x="1703" y="1005"/>
                  </a:lnTo>
                  <a:lnTo>
                    <a:pt x="1727" y="1029"/>
                  </a:lnTo>
                  <a:lnTo>
                    <a:pt x="1743" y="1059"/>
                  </a:lnTo>
                  <a:lnTo>
                    <a:pt x="1749" y="1092"/>
                  </a:lnTo>
                  <a:lnTo>
                    <a:pt x="1749" y="3279"/>
                  </a:lnTo>
                  <a:lnTo>
                    <a:pt x="1743" y="3313"/>
                  </a:lnTo>
                  <a:lnTo>
                    <a:pt x="1727" y="3343"/>
                  </a:lnTo>
                  <a:lnTo>
                    <a:pt x="1703" y="3367"/>
                  </a:lnTo>
                  <a:lnTo>
                    <a:pt x="1674" y="3383"/>
                  </a:lnTo>
                  <a:lnTo>
                    <a:pt x="1640" y="3387"/>
                  </a:lnTo>
                  <a:lnTo>
                    <a:pt x="1606" y="3383"/>
                  </a:lnTo>
                  <a:lnTo>
                    <a:pt x="1574" y="3367"/>
                  </a:lnTo>
                  <a:lnTo>
                    <a:pt x="1552" y="3343"/>
                  </a:lnTo>
                  <a:lnTo>
                    <a:pt x="1536" y="3313"/>
                  </a:lnTo>
                  <a:lnTo>
                    <a:pt x="1530" y="3279"/>
                  </a:lnTo>
                  <a:lnTo>
                    <a:pt x="1530" y="1202"/>
                  </a:lnTo>
                  <a:lnTo>
                    <a:pt x="547" y="1202"/>
                  </a:lnTo>
                  <a:lnTo>
                    <a:pt x="465" y="1196"/>
                  </a:lnTo>
                  <a:lnTo>
                    <a:pt x="389" y="1180"/>
                  </a:lnTo>
                  <a:lnTo>
                    <a:pt x="316" y="1152"/>
                  </a:lnTo>
                  <a:lnTo>
                    <a:pt x="250" y="1114"/>
                  </a:lnTo>
                  <a:lnTo>
                    <a:pt x="188" y="1069"/>
                  </a:lnTo>
                  <a:lnTo>
                    <a:pt x="134" y="1015"/>
                  </a:lnTo>
                  <a:lnTo>
                    <a:pt x="88" y="953"/>
                  </a:lnTo>
                  <a:lnTo>
                    <a:pt x="50" y="887"/>
                  </a:lnTo>
                  <a:lnTo>
                    <a:pt x="22" y="813"/>
                  </a:lnTo>
                  <a:lnTo>
                    <a:pt x="6" y="738"/>
                  </a:lnTo>
                  <a:lnTo>
                    <a:pt x="0" y="656"/>
                  </a:lnTo>
                  <a:lnTo>
                    <a:pt x="0" y="110"/>
                  </a:lnTo>
                  <a:lnTo>
                    <a:pt x="4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35" y="1831"/>
              <a:ext cx="547" cy="108"/>
            </a:xfrm>
            <a:custGeom>
              <a:avLst/>
              <a:gdLst>
                <a:gd name="T0" fmla="*/ 109 w 1095"/>
                <a:gd name="T1" fmla="*/ 0 h 217"/>
                <a:gd name="T2" fmla="*/ 985 w 1095"/>
                <a:gd name="T3" fmla="*/ 0 h 217"/>
                <a:gd name="T4" fmla="*/ 1019 w 1095"/>
                <a:gd name="T5" fmla="*/ 6 h 217"/>
                <a:gd name="T6" fmla="*/ 1049 w 1095"/>
                <a:gd name="T7" fmla="*/ 20 h 217"/>
                <a:gd name="T8" fmla="*/ 1073 w 1095"/>
                <a:gd name="T9" fmla="*/ 44 h 217"/>
                <a:gd name="T10" fmla="*/ 1089 w 1095"/>
                <a:gd name="T11" fmla="*/ 74 h 217"/>
                <a:gd name="T12" fmla="*/ 1095 w 1095"/>
                <a:gd name="T13" fmla="*/ 110 h 217"/>
                <a:gd name="T14" fmla="*/ 1089 w 1095"/>
                <a:gd name="T15" fmla="*/ 144 h 217"/>
                <a:gd name="T16" fmla="*/ 1073 w 1095"/>
                <a:gd name="T17" fmla="*/ 174 h 217"/>
                <a:gd name="T18" fmla="*/ 1049 w 1095"/>
                <a:gd name="T19" fmla="*/ 198 h 217"/>
                <a:gd name="T20" fmla="*/ 1019 w 1095"/>
                <a:gd name="T21" fmla="*/ 213 h 217"/>
                <a:gd name="T22" fmla="*/ 985 w 1095"/>
                <a:gd name="T23" fmla="*/ 217 h 217"/>
                <a:gd name="T24" fmla="*/ 109 w 1095"/>
                <a:gd name="T25" fmla="*/ 217 h 217"/>
                <a:gd name="T26" fmla="*/ 76 w 1095"/>
                <a:gd name="T27" fmla="*/ 213 h 217"/>
                <a:gd name="T28" fmla="*/ 46 w 1095"/>
                <a:gd name="T29" fmla="*/ 198 h 217"/>
                <a:gd name="T30" fmla="*/ 22 w 1095"/>
                <a:gd name="T31" fmla="*/ 174 h 217"/>
                <a:gd name="T32" fmla="*/ 6 w 1095"/>
                <a:gd name="T33" fmla="*/ 144 h 217"/>
                <a:gd name="T34" fmla="*/ 0 w 1095"/>
                <a:gd name="T35" fmla="*/ 110 h 217"/>
                <a:gd name="T36" fmla="*/ 6 w 1095"/>
                <a:gd name="T37" fmla="*/ 74 h 217"/>
                <a:gd name="T38" fmla="*/ 22 w 1095"/>
                <a:gd name="T39" fmla="*/ 44 h 217"/>
                <a:gd name="T40" fmla="*/ 46 w 1095"/>
                <a:gd name="T41" fmla="*/ 20 h 217"/>
                <a:gd name="T42" fmla="*/ 76 w 1095"/>
                <a:gd name="T43" fmla="*/ 6 h 217"/>
                <a:gd name="T44" fmla="*/ 109 w 109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5" h="217">
                  <a:moveTo>
                    <a:pt x="109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0"/>
                  </a:lnTo>
                  <a:lnTo>
                    <a:pt x="1073" y="44"/>
                  </a:lnTo>
                  <a:lnTo>
                    <a:pt x="1089" y="74"/>
                  </a:lnTo>
                  <a:lnTo>
                    <a:pt x="1095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3"/>
                  </a:lnTo>
                  <a:lnTo>
                    <a:pt x="985" y="217"/>
                  </a:lnTo>
                  <a:lnTo>
                    <a:pt x="109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788" y="1831"/>
              <a:ext cx="438" cy="108"/>
            </a:xfrm>
            <a:custGeom>
              <a:avLst/>
              <a:gdLst>
                <a:gd name="T0" fmla="*/ 110 w 875"/>
                <a:gd name="T1" fmla="*/ 0 h 217"/>
                <a:gd name="T2" fmla="*/ 766 w 875"/>
                <a:gd name="T3" fmla="*/ 0 h 217"/>
                <a:gd name="T4" fmla="*/ 800 w 875"/>
                <a:gd name="T5" fmla="*/ 6 h 217"/>
                <a:gd name="T6" fmla="*/ 830 w 875"/>
                <a:gd name="T7" fmla="*/ 20 h 217"/>
                <a:gd name="T8" fmla="*/ 853 w 875"/>
                <a:gd name="T9" fmla="*/ 44 h 217"/>
                <a:gd name="T10" fmla="*/ 869 w 875"/>
                <a:gd name="T11" fmla="*/ 74 h 217"/>
                <a:gd name="T12" fmla="*/ 875 w 875"/>
                <a:gd name="T13" fmla="*/ 110 h 217"/>
                <a:gd name="T14" fmla="*/ 869 w 875"/>
                <a:gd name="T15" fmla="*/ 144 h 217"/>
                <a:gd name="T16" fmla="*/ 853 w 875"/>
                <a:gd name="T17" fmla="*/ 174 h 217"/>
                <a:gd name="T18" fmla="*/ 830 w 875"/>
                <a:gd name="T19" fmla="*/ 198 h 217"/>
                <a:gd name="T20" fmla="*/ 800 w 875"/>
                <a:gd name="T21" fmla="*/ 213 h 217"/>
                <a:gd name="T22" fmla="*/ 766 w 875"/>
                <a:gd name="T23" fmla="*/ 217 h 217"/>
                <a:gd name="T24" fmla="*/ 110 w 875"/>
                <a:gd name="T25" fmla="*/ 217 h 217"/>
                <a:gd name="T26" fmla="*/ 76 w 875"/>
                <a:gd name="T27" fmla="*/ 213 h 217"/>
                <a:gd name="T28" fmla="*/ 46 w 875"/>
                <a:gd name="T29" fmla="*/ 198 h 217"/>
                <a:gd name="T30" fmla="*/ 22 w 875"/>
                <a:gd name="T31" fmla="*/ 174 h 217"/>
                <a:gd name="T32" fmla="*/ 6 w 875"/>
                <a:gd name="T33" fmla="*/ 144 h 217"/>
                <a:gd name="T34" fmla="*/ 0 w 875"/>
                <a:gd name="T35" fmla="*/ 110 h 217"/>
                <a:gd name="T36" fmla="*/ 6 w 875"/>
                <a:gd name="T37" fmla="*/ 74 h 217"/>
                <a:gd name="T38" fmla="*/ 22 w 875"/>
                <a:gd name="T39" fmla="*/ 44 h 217"/>
                <a:gd name="T40" fmla="*/ 46 w 875"/>
                <a:gd name="T41" fmla="*/ 20 h 217"/>
                <a:gd name="T42" fmla="*/ 76 w 875"/>
                <a:gd name="T43" fmla="*/ 6 h 217"/>
                <a:gd name="T44" fmla="*/ 110 w 87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5" h="217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0"/>
                  </a:lnTo>
                  <a:lnTo>
                    <a:pt x="853" y="44"/>
                  </a:lnTo>
                  <a:lnTo>
                    <a:pt x="869" y="74"/>
                  </a:lnTo>
                  <a:lnTo>
                    <a:pt x="875" y="110"/>
                  </a:lnTo>
                  <a:lnTo>
                    <a:pt x="869" y="144"/>
                  </a:lnTo>
                  <a:lnTo>
                    <a:pt x="853" y="174"/>
                  </a:lnTo>
                  <a:lnTo>
                    <a:pt x="830" y="198"/>
                  </a:lnTo>
                  <a:lnTo>
                    <a:pt x="800" y="213"/>
                  </a:lnTo>
                  <a:lnTo>
                    <a:pt x="766" y="217"/>
                  </a:lnTo>
                  <a:lnTo>
                    <a:pt x="110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2788" y="2159"/>
              <a:ext cx="220" cy="108"/>
            </a:xfrm>
            <a:custGeom>
              <a:avLst/>
              <a:gdLst>
                <a:gd name="T0" fmla="*/ 110 w 439"/>
                <a:gd name="T1" fmla="*/ 0 h 217"/>
                <a:gd name="T2" fmla="*/ 329 w 439"/>
                <a:gd name="T3" fmla="*/ 0 h 217"/>
                <a:gd name="T4" fmla="*/ 363 w 439"/>
                <a:gd name="T5" fmla="*/ 4 h 217"/>
                <a:gd name="T6" fmla="*/ 393 w 439"/>
                <a:gd name="T7" fmla="*/ 20 h 217"/>
                <a:gd name="T8" fmla="*/ 417 w 439"/>
                <a:gd name="T9" fmla="*/ 44 h 217"/>
                <a:gd name="T10" fmla="*/ 433 w 439"/>
                <a:gd name="T11" fmla="*/ 74 h 217"/>
                <a:gd name="T12" fmla="*/ 439 w 439"/>
                <a:gd name="T13" fmla="*/ 108 h 217"/>
                <a:gd name="T14" fmla="*/ 433 w 439"/>
                <a:gd name="T15" fmla="*/ 144 h 217"/>
                <a:gd name="T16" fmla="*/ 417 w 439"/>
                <a:gd name="T17" fmla="*/ 173 h 217"/>
                <a:gd name="T18" fmla="*/ 393 w 439"/>
                <a:gd name="T19" fmla="*/ 197 h 217"/>
                <a:gd name="T20" fmla="*/ 363 w 439"/>
                <a:gd name="T21" fmla="*/ 211 h 217"/>
                <a:gd name="T22" fmla="*/ 329 w 439"/>
                <a:gd name="T23" fmla="*/ 217 h 217"/>
                <a:gd name="T24" fmla="*/ 110 w 439"/>
                <a:gd name="T25" fmla="*/ 217 h 217"/>
                <a:gd name="T26" fmla="*/ 76 w 439"/>
                <a:gd name="T27" fmla="*/ 211 h 217"/>
                <a:gd name="T28" fmla="*/ 46 w 439"/>
                <a:gd name="T29" fmla="*/ 197 h 217"/>
                <a:gd name="T30" fmla="*/ 22 w 439"/>
                <a:gd name="T31" fmla="*/ 173 h 217"/>
                <a:gd name="T32" fmla="*/ 6 w 439"/>
                <a:gd name="T33" fmla="*/ 144 h 217"/>
                <a:gd name="T34" fmla="*/ 0 w 439"/>
                <a:gd name="T35" fmla="*/ 108 h 217"/>
                <a:gd name="T36" fmla="*/ 6 w 439"/>
                <a:gd name="T37" fmla="*/ 74 h 217"/>
                <a:gd name="T38" fmla="*/ 22 w 439"/>
                <a:gd name="T39" fmla="*/ 44 h 217"/>
                <a:gd name="T40" fmla="*/ 46 w 439"/>
                <a:gd name="T41" fmla="*/ 20 h 217"/>
                <a:gd name="T42" fmla="*/ 76 w 439"/>
                <a:gd name="T43" fmla="*/ 4 h 217"/>
                <a:gd name="T44" fmla="*/ 110 w 439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7">
                  <a:moveTo>
                    <a:pt x="110" y="0"/>
                  </a:moveTo>
                  <a:lnTo>
                    <a:pt x="329" y="0"/>
                  </a:lnTo>
                  <a:lnTo>
                    <a:pt x="363" y="4"/>
                  </a:lnTo>
                  <a:lnTo>
                    <a:pt x="393" y="20"/>
                  </a:lnTo>
                  <a:lnTo>
                    <a:pt x="417" y="44"/>
                  </a:lnTo>
                  <a:lnTo>
                    <a:pt x="433" y="74"/>
                  </a:lnTo>
                  <a:lnTo>
                    <a:pt x="439" y="108"/>
                  </a:lnTo>
                  <a:lnTo>
                    <a:pt x="433" y="144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1"/>
                  </a:lnTo>
                  <a:lnTo>
                    <a:pt x="329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4"/>
                  </a:lnTo>
                  <a:lnTo>
                    <a:pt x="0" y="108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2788" y="1503"/>
              <a:ext cx="657" cy="108"/>
            </a:xfrm>
            <a:custGeom>
              <a:avLst/>
              <a:gdLst>
                <a:gd name="T0" fmla="*/ 110 w 1312"/>
                <a:gd name="T1" fmla="*/ 0 h 218"/>
                <a:gd name="T2" fmla="*/ 1202 w 1312"/>
                <a:gd name="T3" fmla="*/ 0 h 218"/>
                <a:gd name="T4" fmla="*/ 1238 w 1312"/>
                <a:gd name="T5" fmla="*/ 6 h 218"/>
                <a:gd name="T6" fmla="*/ 1268 w 1312"/>
                <a:gd name="T7" fmla="*/ 20 h 218"/>
                <a:gd name="T8" fmla="*/ 1290 w 1312"/>
                <a:gd name="T9" fmla="*/ 44 h 218"/>
                <a:gd name="T10" fmla="*/ 1306 w 1312"/>
                <a:gd name="T11" fmla="*/ 74 h 218"/>
                <a:gd name="T12" fmla="*/ 1312 w 1312"/>
                <a:gd name="T13" fmla="*/ 110 h 218"/>
                <a:gd name="T14" fmla="*/ 1306 w 1312"/>
                <a:gd name="T15" fmla="*/ 144 h 218"/>
                <a:gd name="T16" fmla="*/ 1290 w 1312"/>
                <a:gd name="T17" fmla="*/ 174 h 218"/>
                <a:gd name="T18" fmla="*/ 1268 w 1312"/>
                <a:gd name="T19" fmla="*/ 198 h 218"/>
                <a:gd name="T20" fmla="*/ 1238 w 1312"/>
                <a:gd name="T21" fmla="*/ 214 h 218"/>
                <a:gd name="T22" fmla="*/ 1202 w 1312"/>
                <a:gd name="T23" fmla="*/ 218 h 218"/>
                <a:gd name="T24" fmla="*/ 110 w 1312"/>
                <a:gd name="T25" fmla="*/ 218 h 218"/>
                <a:gd name="T26" fmla="*/ 76 w 1312"/>
                <a:gd name="T27" fmla="*/ 214 h 218"/>
                <a:gd name="T28" fmla="*/ 46 w 1312"/>
                <a:gd name="T29" fmla="*/ 198 h 218"/>
                <a:gd name="T30" fmla="*/ 22 w 1312"/>
                <a:gd name="T31" fmla="*/ 174 h 218"/>
                <a:gd name="T32" fmla="*/ 6 w 1312"/>
                <a:gd name="T33" fmla="*/ 144 h 218"/>
                <a:gd name="T34" fmla="*/ 0 w 1312"/>
                <a:gd name="T35" fmla="*/ 110 h 218"/>
                <a:gd name="T36" fmla="*/ 6 w 1312"/>
                <a:gd name="T37" fmla="*/ 74 h 218"/>
                <a:gd name="T38" fmla="*/ 22 w 1312"/>
                <a:gd name="T39" fmla="*/ 44 h 218"/>
                <a:gd name="T40" fmla="*/ 46 w 1312"/>
                <a:gd name="T41" fmla="*/ 20 h 218"/>
                <a:gd name="T42" fmla="*/ 76 w 1312"/>
                <a:gd name="T43" fmla="*/ 6 h 218"/>
                <a:gd name="T44" fmla="*/ 110 w 1312"/>
                <a:gd name="T4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8">
                  <a:moveTo>
                    <a:pt x="110" y="0"/>
                  </a:moveTo>
                  <a:lnTo>
                    <a:pt x="1202" y="0"/>
                  </a:lnTo>
                  <a:lnTo>
                    <a:pt x="1238" y="6"/>
                  </a:lnTo>
                  <a:lnTo>
                    <a:pt x="1268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10"/>
                  </a:lnTo>
                  <a:lnTo>
                    <a:pt x="1306" y="144"/>
                  </a:lnTo>
                  <a:lnTo>
                    <a:pt x="1290" y="174"/>
                  </a:lnTo>
                  <a:lnTo>
                    <a:pt x="1268" y="198"/>
                  </a:lnTo>
                  <a:lnTo>
                    <a:pt x="1238" y="214"/>
                  </a:lnTo>
                  <a:lnTo>
                    <a:pt x="1202" y="218"/>
                  </a:lnTo>
                  <a:lnTo>
                    <a:pt x="110" y="218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117" y="2159"/>
              <a:ext cx="656" cy="108"/>
            </a:xfrm>
            <a:custGeom>
              <a:avLst/>
              <a:gdLst>
                <a:gd name="T0" fmla="*/ 110 w 1312"/>
                <a:gd name="T1" fmla="*/ 0 h 217"/>
                <a:gd name="T2" fmla="*/ 1202 w 1312"/>
                <a:gd name="T3" fmla="*/ 0 h 217"/>
                <a:gd name="T4" fmla="*/ 1236 w 1312"/>
                <a:gd name="T5" fmla="*/ 4 h 217"/>
                <a:gd name="T6" fmla="*/ 1266 w 1312"/>
                <a:gd name="T7" fmla="*/ 20 h 217"/>
                <a:gd name="T8" fmla="*/ 1290 w 1312"/>
                <a:gd name="T9" fmla="*/ 44 h 217"/>
                <a:gd name="T10" fmla="*/ 1306 w 1312"/>
                <a:gd name="T11" fmla="*/ 74 h 217"/>
                <a:gd name="T12" fmla="*/ 1312 w 1312"/>
                <a:gd name="T13" fmla="*/ 108 h 217"/>
                <a:gd name="T14" fmla="*/ 1306 w 1312"/>
                <a:gd name="T15" fmla="*/ 144 h 217"/>
                <a:gd name="T16" fmla="*/ 1290 w 1312"/>
                <a:gd name="T17" fmla="*/ 173 h 217"/>
                <a:gd name="T18" fmla="*/ 1266 w 1312"/>
                <a:gd name="T19" fmla="*/ 197 h 217"/>
                <a:gd name="T20" fmla="*/ 1236 w 1312"/>
                <a:gd name="T21" fmla="*/ 211 h 217"/>
                <a:gd name="T22" fmla="*/ 1202 w 1312"/>
                <a:gd name="T23" fmla="*/ 217 h 217"/>
                <a:gd name="T24" fmla="*/ 110 w 1312"/>
                <a:gd name="T25" fmla="*/ 217 h 217"/>
                <a:gd name="T26" fmla="*/ 76 w 1312"/>
                <a:gd name="T27" fmla="*/ 211 h 217"/>
                <a:gd name="T28" fmla="*/ 46 w 1312"/>
                <a:gd name="T29" fmla="*/ 197 h 217"/>
                <a:gd name="T30" fmla="*/ 22 w 1312"/>
                <a:gd name="T31" fmla="*/ 173 h 217"/>
                <a:gd name="T32" fmla="*/ 4 w 1312"/>
                <a:gd name="T33" fmla="*/ 144 h 217"/>
                <a:gd name="T34" fmla="*/ 0 w 1312"/>
                <a:gd name="T35" fmla="*/ 108 h 217"/>
                <a:gd name="T36" fmla="*/ 4 w 1312"/>
                <a:gd name="T37" fmla="*/ 74 h 217"/>
                <a:gd name="T38" fmla="*/ 22 w 1312"/>
                <a:gd name="T39" fmla="*/ 44 h 217"/>
                <a:gd name="T40" fmla="*/ 46 w 1312"/>
                <a:gd name="T41" fmla="*/ 20 h 217"/>
                <a:gd name="T42" fmla="*/ 76 w 1312"/>
                <a:gd name="T43" fmla="*/ 4 h 217"/>
                <a:gd name="T44" fmla="*/ 110 w 1312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7">
                  <a:moveTo>
                    <a:pt x="110" y="0"/>
                  </a:moveTo>
                  <a:lnTo>
                    <a:pt x="1202" y="0"/>
                  </a:lnTo>
                  <a:lnTo>
                    <a:pt x="1236" y="4"/>
                  </a:lnTo>
                  <a:lnTo>
                    <a:pt x="1266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08"/>
                  </a:lnTo>
                  <a:lnTo>
                    <a:pt x="1306" y="144"/>
                  </a:lnTo>
                  <a:lnTo>
                    <a:pt x="1290" y="173"/>
                  </a:lnTo>
                  <a:lnTo>
                    <a:pt x="1266" y="197"/>
                  </a:lnTo>
                  <a:lnTo>
                    <a:pt x="1236" y="211"/>
                  </a:lnTo>
                  <a:lnTo>
                    <a:pt x="1202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4" y="144"/>
                  </a:lnTo>
                  <a:lnTo>
                    <a:pt x="0" y="108"/>
                  </a:lnTo>
                  <a:lnTo>
                    <a:pt x="4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3445" y="2813"/>
              <a:ext cx="218" cy="110"/>
            </a:xfrm>
            <a:custGeom>
              <a:avLst/>
              <a:gdLst>
                <a:gd name="T0" fmla="*/ 110 w 437"/>
                <a:gd name="T1" fmla="*/ 0 h 219"/>
                <a:gd name="T2" fmla="*/ 327 w 437"/>
                <a:gd name="T3" fmla="*/ 0 h 219"/>
                <a:gd name="T4" fmla="*/ 363 w 437"/>
                <a:gd name="T5" fmla="*/ 6 h 219"/>
                <a:gd name="T6" fmla="*/ 393 w 437"/>
                <a:gd name="T7" fmla="*/ 22 h 219"/>
                <a:gd name="T8" fmla="*/ 417 w 437"/>
                <a:gd name="T9" fmla="*/ 45 h 219"/>
                <a:gd name="T10" fmla="*/ 431 w 437"/>
                <a:gd name="T11" fmla="*/ 75 h 219"/>
                <a:gd name="T12" fmla="*/ 437 w 437"/>
                <a:gd name="T13" fmla="*/ 109 h 219"/>
                <a:gd name="T14" fmla="*/ 431 w 437"/>
                <a:gd name="T15" fmla="*/ 143 h 219"/>
                <a:gd name="T16" fmla="*/ 417 w 437"/>
                <a:gd name="T17" fmla="*/ 173 h 219"/>
                <a:gd name="T18" fmla="*/ 393 w 437"/>
                <a:gd name="T19" fmla="*/ 197 h 219"/>
                <a:gd name="T20" fmla="*/ 363 w 437"/>
                <a:gd name="T21" fmla="*/ 213 h 219"/>
                <a:gd name="T22" fmla="*/ 327 w 437"/>
                <a:gd name="T23" fmla="*/ 219 h 219"/>
                <a:gd name="T24" fmla="*/ 110 w 437"/>
                <a:gd name="T25" fmla="*/ 219 h 219"/>
                <a:gd name="T26" fmla="*/ 76 w 437"/>
                <a:gd name="T27" fmla="*/ 213 h 219"/>
                <a:gd name="T28" fmla="*/ 44 w 437"/>
                <a:gd name="T29" fmla="*/ 197 h 219"/>
                <a:gd name="T30" fmla="*/ 22 w 437"/>
                <a:gd name="T31" fmla="*/ 173 h 219"/>
                <a:gd name="T32" fmla="*/ 6 w 437"/>
                <a:gd name="T33" fmla="*/ 143 h 219"/>
                <a:gd name="T34" fmla="*/ 0 w 437"/>
                <a:gd name="T35" fmla="*/ 109 h 219"/>
                <a:gd name="T36" fmla="*/ 6 w 437"/>
                <a:gd name="T37" fmla="*/ 75 h 219"/>
                <a:gd name="T38" fmla="*/ 22 w 437"/>
                <a:gd name="T39" fmla="*/ 45 h 219"/>
                <a:gd name="T40" fmla="*/ 44 w 437"/>
                <a:gd name="T41" fmla="*/ 22 h 219"/>
                <a:gd name="T42" fmla="*/ 76 w 437"/>
                <a:gd name="T43" fmla="*/ 6 h 219"/>
                <a:gd name="T44" fmla="*/ 110 w 437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7" h="219">
                  <a:moveTo>
                    <a:pt x="110" y="0"/>
                  </a:moveTo>
                  <a:lnTo>
                    <a:pt x="327" y="0"/>
                  </a:lnTo>
                  <a:lnTo>
                    <a:pt x="363" y="6"/>
                  </a:lnTo>
                  <a:lnTo>
                    <a:pt x="393" y="22"/>
                  </a:lnTo>
                  <a:lnTo>
                    <a:pt x="417" y="45"/>
                  </a:lnTo>
                  <a:lnTo>
                    <a:pt x="431" y="75"/>
                  </a:lnTo>
                  <a:lnTo>
                    <a:pt x="437" y="109"/>
                  </a:lnTo>
                  <a:lnTo>
                    <a:pt x="431" y="143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3"/>
                  </a:lnTo>
                  <a:lnTo>
                    <a:pt x="327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2788" y="2485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6 h 219"/>
                <a:gd name="T10" fmla="*/ 1089 w 1093"/>
                <a:gd name="T11" fmla="*/ 76 h 219"/>
                <a:gd name="T12" fmla="*/ 1093 w 1093"/>
                <a:gd name="T13" fmla="*/ 109 h 219"/>
                <a:gd name="T14" fmla="*/ 1089 w 1093"/>
                <a:gd name="T15" fmla="*/ 145 h 219"/>
                <a:gd name="T16" fmla="*/ 1073 w 1093"/>
                <a:gd name="T17" fmla="*/ 175 h 219"/>
                <a:gd name="T18" fmla="*/ 1049 w 1093"/>
                <a:gd name="T19" fmla="*/ 199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9 h 219"/>
                <a:gd name="T30" fmla="*/ 22 w 1093"/>
                <a:gd name="T31" fmla="*/ 175 h 219"/>
                <a:gd name="T32" fmla="*/ 6 w 1093"/>
                <a:gd name="T33" fmla="*/ 145 h 219"/>
                <a:gd name="T34" fmla="*/ 0 w 1093"/>
                <a:gd name="T35" fmla="*/ 109 h 219"/>
                <a:gd name="T36" fmla="*/ 6 w 1093"/>
                <a:gd name="T37" fmla="*/ 76 h 219"/>
                <a:gd name="T38" fmla="*/ 22 w 1093"/>
                <a:gd name="T39" fmla="*/ 46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09"/>
                  </a:lnTo>
                  <a:lnTo>
                    <a:pt x="1089" y="145"/>
                  </a:lnTo>
                  <a:lnTo>
                    <a:pt x="1073" y="175"/>
                  </a:lnTo>
                  <a:lnTo>
                    <a:pt x="1049" y="199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788" y="2813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5 h 219"/>
                <a:gd name="T10" fmla="*/ 1089 w 1093"/>
                <a:gd name="T11" fmla="*/ 75 h 219"/>
                <a:gd name="T12" fmla="*/ 1093 w 1093"/>
                <a:gd name="T13" fmla="*/ 109 h 219"/>
                <a:gd name="T14" fmla="*/ 1089 w 1093"/>
                <a:gd name="T15" fmla="*/ 143 h 219"/>
                <a:gd name="T16" fmla="*/ 1073 w 1093"/>
                <a:gd name="T17" fmla="*/ 173 h 219"/>
                <a:gd name="T18" fmla="*/ 1049 w 1093"/>
                <a:gd name="T19" fmla="*/ 197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7 h 219"/>
                <a:gd name="T30" fmla="*/ 22 w 1093"/>
                <a:gd name="T31" fmla="*/ 173 h 219"/>
                <a:gd name="T32" fmla="*/ 6 w 1093"/>
                <a:gd name="T33" fmla="*/ 143 h 219"/>
                <a:gd name="T34" fmla="*/ 0 w 1093"/>
                <a:gd name="T35" fmla="*/ 109 h 219"/>
                <a:gd name="T36" fmla="*/ 6 w 1093"/>
                <a:gd name="T37" fmla="*/ 75 h 219"/>
                <a:gd name="T38" fmla="*/ 22 w 1093"/>
                <a:gd name="T39" fmla="*/ 45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5"/>
                  </a:lnTo>
                  <a:lnTo>
                    <a:pt x="1089" y="75"/>
                  </a:lnTo>
                  <a:lnTo>
                    <a:pt x="1093" y="109"/>
                  </a:lnTo>
                  <a:lnTo>
                    <a:pt x="1089" y="143"/>
                  </a:lnTo>
                  <a:lnTo>
                    <a:pt x="1073" y="173"/>
                  </a:lnTo>
                  <a:lnTo>
                    <a:pt x="1049" y="197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/>
            <p:cNvSpPr>
              <a:spLocks noEditPoints="1"/>
            </p:cNvSpPr>
            <p:nvPr/>
          </p:nvSpPr>
          <p:spPr bwMode="auto">
            <a:xfrm>
              <a:off x="3445" y="2597"/>
              <a:ext cx="1202" cy="1200"/>
            </a:xfrm>
            <a:custGeom>
              <a:avLst/>
              <a:gdLst>
                <a:gd name="T0" fmla="*/ 219 w 2405"/>
                <a:gd name="T1" fmla="*/ 2181 h 2400"/>
                <a:gd name="T2" fmla="*/ 219 w 2405"/>
                <a:gd name="T3" fmla="*/ 1680 h 2400"/>
                <a:gd name="T4" fmla="*/ 702 w 2405"/>
                <a:gd name="T5" fmla="*/ 1854 h 2400"/>
                <a:gd name="T6" fmla="*/ 1825 w 2405"/>
                <a:gd name="T7" fmla="*/ 1078 h 2400"/>
                <a:gd name="T8" fmla="*/ 1322 w 2405"/>
                <a:gd name="T9" fmla="*/ 576 h 2400"/>
                <a:gd name="T10" fmla="*/ 546 w 2405"/>
                <a:gd name="T11" fmla="*/ 1698 h 2400"/>
                <a:gd name="T12" fmla="*/ 1322 w 2405"/>
                <a:gd name="T13" fmla="*/ 576 h 2400"/>
                <a:gd name="T14" fmla="*/ 1739 w 2405"/>
                <a:gd name="T15" fmla="*/ 217 h 2400"/>
                <a:gd name="T16" fmla="*/ 1657 w 2405"/>
                <a:gd name="T17" fmla="*/ 249 h 2400"/>
                <a:gd name="T18" fmla="*/ 1478 w 2405"/>
                <a:gd name="T19" fmla="*/ 423 h 2400"/>
                <a:gd name="T20" fmla="*/ 2120 w 2405"/>
                <a:gd name="T21" fmla="*/ 781 h 2400"/>
                <a:gd name="T22" fmla="*/ 2174 w 2405"/>
                <a:gd name="T23" fmla="*/ 704 h 2400"/>
                <a:gd name="T24" fmla="*/ 2186 w 2405"/>
                <a:gd name="T25" fmla="*/ 620 h 2400"/>
                <a:gd name="T26" fmla="*/ 2152 w 2405"/>
                <a:gd name="T27" fmla="*/ 538 h 2400"/>
                <a:gd name="T28" fmla="*/ 1901 w 2405"/>
                <a:gd name="T29" fmla="*/ 281 h 2400"/>
                <a:gd name="T30" fmla="*/ 1823 w 2405"/>
                <a:gd name="T31" fmla="*/ 227 h 2400"/>
                <a:gd name="T32" fmla="*/ 1761 w 2405"/>
                <a:gd name="T33" fmla="*/ 0 h 2400"/>
                <a:gd name="T34" fmla="*/ 1887 w 2405"/>
                <a:gd name="T35" fmla="*/ 20 h 2400"/>
                <a:gd name="T36" fmla="*/ 2002 w 2405"/>
                <a:gd name="T37" fmla="*/ 82 h 2400"/>
                <a:gd name="T38" fmla="*/ 2275 w 2405"/>
                <a:gd name="T39" fmla="*/ 345 h 2400"/>
                <a:gd name="T40" fmla="*/ 2359 w 2405"/>
                <a:gd name="T41" fmla="*/ 457 h 2400"/>
                <a:gd name="T42" fmla="*/ 2401 w 2405"/>
                <a:gd name="T43" fmla="*/ 578 h 2400"/>
                <a:gd name="T44" fmla="*/ 2401 w 2405"/>
                <a:gd name="T45" fmla="*/ 704 h 2400"/>
                <a:gd name="T46" fmla="*/ 2359 w 2405"/>
                <a:gd name="T47" fmla="*/ 825 h 2400"/>
                <a:gd name="T48" fmla="*/ 2275 w 2405"/>
                <a:gd name="T49" fmla="*/ 937 h 2400"/>
                <a:gd name="T50" fmla="*/ 820 w 2405"/>
                <a:gd name="T51" fmla="*/ 2386 h 2400"/>
                <a:gd name="T52" fmla="*/ 766 w 2405"/>
                <a:gd name="T53" fmla="*/ 2400 h 2400"/>
                <a:gd name="T54" fmla="*/ 76 w 2405"/>
                <a:gd name="T55" fmla="*/ 2394 h 2400"/>
                <a:gd name="T56" fmla="*/ 22 w 2405"/>
                <a:gd name="T57" fmla="*/ 2356 h 2400"/>
                <a:gd name="T58" fmla="*/ 0 w 2405"/>
                <a:gd name="T59" fmla="*/ 2290 h 2400"/>
                <a:gd name="T60" fmla="*/ 4 w 2405"/>
                <a:gd name="T61" fmla="*/ 1607 h 2400"/>
                <a:gd name="T62" fmla="*/ 32 w 2405"/>
                <a:gd name="T63" fmla="*/ 1559 h 2400"/>
                <a:gd name="T64" fmla="*/ 1518 w 2405"/>
                <a:gd name="T65" fmla="*/ 82 h 2400"/>
                <a:gd name="T66" fmla="*/ 1635 w 2405"/>
                <a:gd name="T67" fmla="*/ 20 h 2400"/>
                <a:gd name="T68" fmla="*/ 1761 w 2405"/>
                <a:gd name="T6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5" h="2400">
                  <a:moveTo>
                    <a:pt x="219" y="1680"/>
                  </a:moveTo>
                  <a:lnTo>
                    <a:pt x="219" y="2181"/>
                  </a:lnTo>
                  <a:lnTo>
                    <a:pt x="720" y="2181"/>
                  </a:lnTo>
                  <a:lnTo>
                    <a:pt x="219" y="1680"/>
                  </a:lnTo>
                  <a:close/>
                  <a:moveTo>
                    <a:pt x="1651" y="905"/>
                  </a:moveTo>
                  <a:lnTo>
                    <a:pt x="702" y="1854"/>
                  </a:lnTo>
                  <a:lnTo>
                    <a:pt x="876" y="2027"/>
                  </a:lnTo>
                  <a:lnTo>
                    <a:pt x="1825" y="1078"/>
                  </a:lnTo>
                  <a:lnTo>
                    <a:pt x="1651" y="905"/>
                  </a:lnTo>
                  <a:close/>
                  <a:moveTo>
                    <a:pt x="1322" y="576"/>
                  </a:moveTo>
                  <a:lnTo>
                    <a:pt x="373" y="1525"/>
                  </a:lnTo>
                  <a:lnTo>
                    <a:pt x="546" y="1698"/>
                  </a:lnTo>
                  <a:lnTo>
                    <a:pt x="1496" y="750"/>
                  </a:lnTo>
                  <a:lnTo>
                    <a:pt x="1322" y="576"/>
                  </a:lnTo>
                  <a:close/>
                  <a:moveTo>
                    <a:pt x="1781" y="217"/>
                  </a:moveTo>
                  <a:lnTo>
                    <a:pt x="1739" y="217"/>
                  </a:lnTo>
                  <a:lnTo>
                    <a:pt x="1697" y="227"/>
                  </a:lnTo>
                  <a:lnTo>
                    <a:pt x="1657" y="249"/>
                  </a:lnTo>
                  <a:lnTo>
                    <a:pt x="1619" y="281"/>
                  </a:lnTo>
                  <a:lnTo>
                    <a:pt x="1478" y="423"/>
                  </a:lnTo>
                  <a:lnTo>
                    <a:pt x="1978" y="923"/>
                  </a:lnTo>
                  <a:lnTo>
                    <a:pt x="2120" y="781"/>
                  </a:lnTo>
                  <a:lnTo>
                    <a:pt x="2152" y="744"/>
                  </a:lnTo>
                  <a:lnTo>
                    <a:pt x="2174" y="704"/>
                  </a:lnTo>
                  <a:lnTo>
                    <a:pt x="2186" y="662"/>
                  </a:lnTo>
                  <a:lnTo>
                    <a:pt x="2186" y="620"/>
                  </a:lnTo>
                  <a:lnTo>
                    <a:pt x="2174" y="578"/>
                  </a:lnTo>
                  <a:lnTo>
                    <a:pt x="2152" y="538"/>
                  </a:lnTo>
                  <a:lnTo>
                    <a:pt x="2120" y="500"/>
                  </a:lnTo>
                  <a:lnTo>
                    <a:pt x="1901" y="281"/>
                  </a:lnTo>
                  <a:lnTo>
                    <a:pt x="1863" y="249"/>
                  </a:lnTo>
                  <a:lnTo>
                    <a:pt x="1823" y="227"/>
                  </a:lnTo>
                  <a:lnTo>
                    <a:pt x="1781" y="217"/>
                  </a:lnTo>
                  <a:close/>
                  <a:moveTo>
                    <a:pt x="1761" y="0"/>
                  </a:moveTo>
                  <a:lnTo>
                    <a:pt x="1823" y="6"/>
                  </a:lnTo>
                  <a:lnTo>
                    <a:pt x="1887" y="20"/>
                  </a:lnTo>
                  <a:lnTo>
                    <a:pt x="1946" y="46"/>
                  </a:lnTo>
                  <a:lnTo>
                    <a:pt x="2002" y="82"/>
                  </a:lnTo>
                  <a:lnTo>
                    <a:pt x="2056" y="126"/>
                  </a:lnTo>
                  <a:lnTo>
                    <a:pt x="2275" y="345"/>
                  </a:lnTo>
                  <a:lnTo>
                    <a:pt x="2321" y="399"/>
                  </a:lnTo>
                  <a:lnTo>
                    <a:pt x="2359" y="457"/>
                  </a:lnTo>
                  <a:lnTo>
                    <a:pt x="2385" y="516"/>
                  </a:lnTo>
                  <a:lnTo>
                    <a:pt x="2401" y="578"/>
                  </a:lnTo>
                  <a:lnTo>
                    <a:pt x="2405" y="640"/>
                  </a:lnTo>
                  <a:lnTo>
                    <a:pt x="2401" y="704"/>
                  </a:lnTo>
                  <a:lnTo>
                    <a:pt x="2385" y="766"/>
                  </a:lnTo>
                  <a:lnTo>
                    <a:pt x="2359" y="825"/>
                  </a:lnTo>
                  <a:lnTo>
                    <a:pt x="2321" y="883"/>
                  </a:lnTo>
                  <a:lnTo>
                    <a:pt x="2275" y="937"/>
                  </a:lnTo>
                  <a:lnTo>
                    <a:pt x="842" y="2368"/>
                  </a:lnTo>
                  <a:lnTo>
                    <a:pt x="820" y="2386"/>
                  </a:lnTo>
                  <a:lnTo>
                    <a:pt x="794" y="2396"/>
                  </a:lnTo>
                  <a:lnTo>
                    <a:pt x="766" y="2400"/>
                  </a:lnTo>
                  <a:lnTo>
                    <a:pt x="110" y="2400"/>
                  </a:lnTo>
                  <a:lnTo>
                    <a:pt x="76" y="2394"/>
                  </a:lnTo>
                  <a:lnTo>
                    <a:pt x="44" y="2378"/>
                  </a:lnTo>
                  <a:lnTo>
                    <a:pt x="22" y="2356"/>
                  </a:lnTo>
                  <a:lnTo>
                    <a:pt x="6" y="2324"/>
                  </a:lnTo>
                  <a:lnTo>
                    <a:pt x="0" y="2290"/>
                  </a:lnTo>
                  <a:lnTo>
                    <a:pt x="0" y="1635"/>
                  </a:lnTo>
                  <a:lnTo>
                    <a:pt x="4" y="1607"/>
                  </a:lnTo>
                  <a:lnTo>
                    <a:pt x="14" y="1581"/>
                  </a:lnTo>
                  <a:lnTo>
                    <a:pt x="32" y="1559"/>
                  </a:lnTo>
                  <a:lnTo>
                    <a:pt x="1464" y="126"/>
                  </a:lnTo>
                  <a:lnTo>
                    <a:pt x="1518" y="82"/>
                  </a:lnTo>
                  <a:lnTo>
                    <a:pt x="1573" y="46"/>
                  </a:lnTo>
                  <a:lnTo>
                    <a:pt x="1635" y="20"/>
                  </a:lnTo>
                  <a:lnTo>
                    <a:pt x="1697" y="6"/>
                  </a:lnTo>
                  <a:lnTo>
                    <a:pt x="1761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1586" y="519"/>
              <a:ext cx="2623" cy="3278"/>
            </a:xfrm>
            <a:custGeom>
              <a:avLst/>
              <a:gdLst>
                <a:gd name="T0" fmla="*/ 4044 w 5247"/>
                <a:gd name="T1" fmla="*/ 0 h 6556"/>
                <a:gd name="T2" fmla="*/ 4100 w 5247"/>
                <a:gd name="T3" fmla="*/ 16 h 6556"/>
                <a:gd name="T4" fmla="*/ 5215 w 5247"/>
                <a:gd name="T5" fmla="*/ 1124 h 6556"/>
                <a:gd name="T6" fmla="*/ 5245 w 5247"/>
                <a:gd name="T7" fmla="*/ 1174 h 6556"/>
                <a:gd name="T8" fmla="*/ 5245 w 5247"/>
                <a:gd name="T9" fmla="*/ 1230 h 6556"/>
                <a:gd name="T10" fmla="*/ 5215 w 5247"/>
                <a:gd name="T11" fmla="*/ 1280 h 6556"/>
                <a:gd name="T12" fmla="*/ 5167 w 5247"/>
                <a:gd name="T13" fmla="*/ 1308 h 6556"/>
                <a:gd name="T14" fmla="*/ 5111 w 5247"/>
                <a:gd name="T15" fmla="*/ 1308 h 6556"/>
                <a:gd name="T16" fmla="*/ 5061 w 5247"/>
                <a:gd name="T17" fmla="*/ 1280 h 6556"/>
                <a:gd name="T18" fmla="*/ 546 w 5247"/>
                <a:gd name="T19" fmla="*/ 219 h 6556"/>
                <a:gd name="T20" fmla="*/ 433 w 5247"/>
                <a:gd name="T21" fmla="*/ 239 h 6556"/>
                <a:gd name="T22" fmla="*/ 337 w 5247"/>
                <a:gd name="T23" fmla="*/ 297 h 6556"/>
                <a:gd name="T24" fmla="*/ 265 w 5247"/>
                <a:gd name="T25" fmla="*/ 381 h 6556"/>
                <a:gd name="T26" fmla="*/ 225 w 5247"/>
                <a:gd name="T27" fmla="*/ 488 h 6556"/>
                <a:gd name="T28" fmla="*/ 219 w 5247"/>
                <a:gd name="T29" fmla="*/ 6010 h 6556"/>
                <a:gd name="T30" fmla="*/ 239 w 5247"/>
                <a:gd name="T31" fmla="*/ 6123 h 6556"/>
                <a:gd name="T32" fmla="*/ 297 w 5247"/>
                <a:gd name="T33" fmla="*/ 6221 h 6556"/>
                <a:gd name="T34" fmla="*/ 383 w 5247"/>
                <a:gd name="T35" fmla="*/ 6293 h 6556"/>
                <a:gd name="T36" fmla="*/ 489 w 5247"/>
                <a:gd name="T37" fmla="*/ 6333 h 6556"/>
                <a:gd name="T38" fmla="*/ 3390 w 5247"/>
                <a:gd name="T39" fmla="*/ 6337 h 6556"/>
                <a:gd name="T40" fmla="*/ 3454 w 5247"/>
                <a:gd name="T41" fmla="*/ 6359 h 6556"/>
                <a:gd name="T42" fmla="*/ 3494 w 5247"/>
                <a:gd name="T43" fmla="*/ 6413 h 6556"/>
                <a:gd name="T44" fmla="*/ 3494 w 5247"/>
                <a:gd name="T45" fmla="*/ 6480 h 6556"/>
                <a:gd name="T46" fmla="*/ 3454 w 5247"/>
                <a:gd name="T47" fmla="*/ 6534 h 6556"/>
                <a:gd name="T48" fmla="*/ 3390 w 5247"/>
                <a:gd name="T49" fmla="*/ 6556 h 6556"/>
                <a:gd name="T50" fmla="*/ 467 w 5247"/>
                <a:gd name="T51" fmla="*/ 6550 h 6556"/>
                <a:gd name="T52" fmla="*/ 317 w 5247"/>
                <a:gd name="T53" fmla="*/ 6504 h 6556"/>
                <a:gd name="T54" fmla="*/ 189 w 5247"/>
                <a:gd name="T55" fmla="*/ 6422 h 6556"/>
                <a:gd name="T56" fmla="*/ 90 w 5247"/>
                <a:gd name="T57" fmla="*/ 6307 h 6556"/>
                <a:gd name="T58" fmla="*/ 24 w 5247"/>
                <a:gd name="T59" fmla="*/ 6167 h 6556"/>
                <a:gd name="T60" fmla="*/ 0 w 5247"/>
                <a:gd name="T61" fmla="*/ 6010 h 6556"/>
                <a:gd name="T62" fmla="*/ 6 w 5247"/>
                <a:gd name="T63" fmla="*/ 466 h 6556"/>
                <a:gd name="T64" fmla="*/ 52 w 5247"/>
                <a:gd name="T65" fmla="*/ 317 h 6556"/>
                <a:gd name="T66" fmla="*/ 136 w 5247"/>
                <a:gd name="T67" fmla="*/ 189 h 6556"/>
                <a:gd name="T68" fmla="*/ 249 w 5247"/>
                <a:gd name="T69" fmla="*/ 88 h 6556"/>
                <a:gd name="T70" fmla="*/ 389 w 5247"/>
                <a:gd name="T71" fmla="*/ 24 h 6556"/>
                <a:gd name="T72" fmla="*/ 546 w 5247"/>
                <a:gd name="T73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7" h="6556">
                  <a:moveTo>
                    <a:pt x="546" y="0"/>
                  </a:moveTo>
                  <a:lnTo>
                    <a:pt x="4044" y="0"/>
                  </a:lnTo>
                  <a:lnTo>
                    <a:pt x="4074" y="4"/>
                  </a:lnTo>
                  <a:lnTo>
                    <a:pt x="4100" y="16"/>
                  </a:lnTo>
                  <a:lnTo>
                    <a:pt x="4122" y="32"/>
                  </a:lnTo>
                  <a:lnTo>
                    <a:pt x="5215" y="1124"/>
                  </a:lnTo>
                  <a:lnTo>
                    <a:pt x="5233" y="1148"/>
                  </a:lnTo>
                  <a:lnTo>
                    <a:pt x="5245" y="1174"/>
                  </a:lnTo>
                  <a:lnTo>
                    <a:pt x="5247" y="1202"/>
                  </a:lnTo>
                  <a:lnTo>
                    <a:pt x="5245" y="1230"/>
                  </a:lnTo>
                  <a:lnTo>
                    <a:pt x="5233" y="1256"/>
                  </a:lnTo>
                  <a:lnTo>
                    <a:pt x="5215" y="1280"/>
                  </a:lnTo>
                  <a:lnTo>
                    <a:pt x="5193" y="1298"/>
                  </a:lnTo>
                  <a:lnTo>
                    <a:pt x="5167" y="1308"/>
                  </a:lnTo>
                  <a:lnTo>
                    <a:pt x="5139" y="1312"/>
                  </a:lnTo>
                  <a:lnTo>
                    <a:pt x="5111" y="1308"/>
                  </a:lnTo>
                  <a:lnTo>
                    <a:pt x="5085" y="1298"/>
                  </a:lnTo>
                  <a:lnTo>
                    <a:pt x="5061" y="1280"/>
                  </a:lnTo>
                  <a:lnTo>
                    <a:pt x="4000" y="219"/>
                  </a:lnTo>
                  <a:lnTo>
                    <a:pt x="546" y="219"/>
                  </a:lnTo>
                  <a:lnTo>
                    <a:pt x="489" y="223"/>
                  </a:lnTo>
                  <a:lnTo>
                    <a:pt x="433" y="239"/>
                  </a:lnTo>
                  <a:lnTo>
                    <a:pt x="383" y="263"/>
                  </a:lnTo>
                  <a:lnTo>
                    <a:pt x="337" y="297"/>
                  </a:lnTo>
                  <a:lnTo>
                    <a:pt x="297" y="335"/>
                  </a:lnTo>
                  <a:lnTo>
                    <a:pt x="265" y="381"/>
                  </a:lnTo>
                  <a:lnTo>
                    <a:pt x="239" y="433"/>
                  </a:lnTo>
                  <a:lnTo>
                    <a:pt x="225" y="488"/>
                  </a:lnTo>
                  <a:lnTo>
                    <a:pt x="219" y="546"/>
                  </a:lnTo>
                  <a:lnTo>
                    <a:pt x="219" y="6010"/>
                  </a:lnTo>
                  <a:lnTo>
                    <a:pt x="225" y="6068"/>
                  </a:lnTo>
                  <a:lnTo>
                    <a:pt x="239" y="6123"/>
                  </a:lnTo>
                  <a:lnTo>
                    <a:pt x="265" y="6175"/>
                  </a:lnTo>
                  <a:lnTo>
                    <a:pt x="297" y="6221"/>
                  </a:lnTo>
                  <a:lnTo>
                    <a:pt x="337" y="6261"/>
                  </a:lnTo>
                  <a:lnTo>
                    <a:pt x="383" y="6293"/>
                  </a:lnTo>
                  <a:lnTo>
                    <a:pt x="433" y="6317"/>
                  </a:lnTo>
                  <a:lnTo>
                    <a:pt x="489" y="6333"/>
                  </a:lnTo>
                  <a:lnTo>
                    <a:pt x="546" y="6337"/>
                  </a:lnTo>
                  <a:lnTo>
                    <a:pt x="3390" y="6337"/>
                  </a:lnTo>
                  <a:lnTo>
                    <a:pt x="3424" y="6343"/>
                  </a:lnTo>
                  <a:lnTo>
                    <a:pt x="3454" y="6359"/>
                  </a:lnTo>
                  <a:lnTo>
                    <a:pt x="3478" y="6383"/>
                  </a:lnTo>
                  <a:lnTo>
                    <a:pt x="3494" y="6413"/>
                  </a:lnTo>
                  <a:lnTo>
                    <a:pt x="3498" y="6446"/>
                  </a:lnTo>
                  <a:lnTo>
                    <a:pt x="3494" y="6480"/>
                  </a:lnTo>
                  <a:lnTo>
                    <a:pt x="3478" y="6512"/>
                  </a:lnTo>
                  <a:lnTo>
                    <a:pt x="3454" y="6534"/>
                  </a:lnTo>
                  <a:lnTo>
                    <a:pt x="3424" y="6550"/>
                  </a:lnTo>
                  <a:lnTo>
                    <a:pt x="3390" y="6556"/>
                  </a:lnTo>
                  <a:lnTo>
                    <a:pt x="546" y="6556"/>
                  </a:lnTo>
                  <a:lnTo>
                    <a:pt x="467" y="6550"/>
                  </a:lnTo>
                  <a:lnTo>
                    <a:pt x="389" y="6532"/>
                  </a:lnTo>
                  <a:lnTo>
                    <a:pt x="317" y="6504"/>
                  </a:lnTo>
                  <a:lnTo>
                    <a:pt x="249" y="6468"/>
                  </a:lnTo>
                  <a:lnTo>
                    <a:pt x="189" y="6422"/>
                  </a:lnTo>
                  <a:lnTo>
                    <a:pt x="136" y="6369"/>
                  </a:lnTo>
                  <a:lnTo>
                    <a:pt x="90" y="6307"/>
                  </a:lnTo>
                  <a:lnTo>
                    <a:pt x="52" y="6239"/>
                  </a:lnTo>
                  <a:lnTo>
                    <a:pt x="24" y="6167"/>
                  </a:lnTo>
                  <a:lnTo>
                    <a:pt x="6" y="6090"/>
                  </a:lnTo>
                  <a:lnTo>
                    <a:pt x="0" y="6010"/>
                  </a:lnTo>
                  <a:lnTo>
                    <a:pt x="0" y="546"/>
                  </a:lnTo>
                  <a:lnTo>
                    <a:pt x="6" y="466"/>
                  </a:lnTo>
                  <a:lnTo>
                    <a:pt x="24" y="389"/>
                  </a:lnTo>
                  <a:lnTo>
                    <a:pt x="52" y="317"/>
                  </a:lnTo>
                  <a:lnTo>
                    <a:pt x="90" y="249"/>
                  </a:lnTo>
                  <a:lnTo>
                    <a:pt x="136" y="189"/>
                  </a:lnTo>
                  <a:lnTo>
                    <a:pt x="189" y="136"/>
                  </a:lnTo>
                  <a:lnTo>
                    <a:pt x="249" y="88"/>
                  </a:lnTo>
                  <a:lnTo>
                    <a:pt x="317" y="52"/>
                  </a:lnTo>
                  <a:lnTo>
                    <a:pt x="389" y="24"/>
                  </a:lnTo>
                  <a:lnTo>
                    <a:pt x="467" y="6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2788" y="3141"/>
              <a:ext cx="547" cy="110"/>
            </a:xfrm>
            <a:custGeom>
              <a:avLst/>
              <a:gdLst>
                <a:gd name="T0" fmla="*/ 110 w 1093"/>
                <a:gd name="T1" fmla="*/ 0 h 220"/>
                <a:gd name="T2" fmla="*/ 985 w 1093"/>
                <a:gd name="T3" fmla="*/ 0 h 220"/>
                <a:gd name="T4" fmla="*/ 1019 w 1093"/>
                <a:gd name="T5" fmla="*/ 6 h 220"/>
                <a:gd name="T6" fmla="*/ 1049 w 1093"/>
                <a:gd name="T7" fmla="*/ 22 h 220"/>
                <a:gd name="T8" fmla="*/ 1073 w 1093"/>
                <a:gd name="T9" fmla="*/ 46 h 220"/>
                <a:gd name="T10" fmla="*/ 1089 w 1093"/>
                <a:gd name="T11" fmla="*/ 76 h 220"/>
                <a:gd name="T12" fmla="*/ 1093 w 1093"/>
                <a:gd name="T13" fmla="*/ 110 h 220"/>
                <a:gd name="T14" fmla="*/ 1089 w 1093"/>
                <a:gd name="T15" fmla="*/ 144 h 220"/>
                <a:gd name="T16" fmla="*/ 1073 w 1093"/>
                <a:gd name="T17" fmla="*/ 174 h 220"/>
                <a:gd name="T18" fmla="*/ 1049 w 1093"/>
                <a:gd name="T19" fmla="*/ 198 h 220"/>
                <a:gd name="T20" fmla="*/ 1019 w 1093"/>
                <a:gd name="T21" fmla="*/ 214 h 220"/>
                <a:gd name="T22" fmla="*/ 985 w 1093"/>
                <a:gd name="T23" fmla="*/ 220 h 220"/>
                <a:gd name="T24" fmla="*/ 110 w 1093"/>
                <a:gd name="T25" fmla="*/ 220 h 220"/>
                <a:gd name="T26" fmla="*/ 76 w 1093"/>
                <a:gd name="T27" fmla="*/ 214 h 220"/>
                <a:gd name="T28" fmla="*/ 46 w 1093"/>
                <a:gd name="T29" fmla="*/ 198 h 220"/>
                <a:gd name="T30" fmla="*/ 22 w 1093"/>
                <a:gd name="T31" fmla="*/ 174 h 220"/>
                <a:gd name="T32" fmla="*/ 6 w 1093"/>
                <a:gd name="T33" fmla="*/ 144 h 220"/>
                <a:gd name="T34" fmla="*/ 0 w 1093"/>
                <a:gd name="T35" fmla="*/ 110 h 220"/>
                <a:gd name="T36" fmla="*/ 6 w 1093"/>
                <a:gd name="T37" fmla="*/ 76 h 220"/>
                <a:gd name="T38" fmla="*/ 22 w 1093"/>
                <a:gd name="T39" fmla="*/ 46 h 220"/>
                <a:gd name="T40" fmla="*/ 46 w 1093"/>
                <a:gd name="T41" fmla="*/ 22 h 220"/>
                <a:gd name="T42" fmla="*/ 76 w 1093"/>
                <a:gd name="T43" fmla="*/ 6 h 220"/>
                <a:gd name="T44" fmla="*/ 110 w 1093"/>
                <a:gd name="T4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20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4"/>
                  </a:lnTo>
                  <a:lnTo>
                    <a:pt x="985" y="220"/>
                  </a:lnTo>
                  <a:lnTo>
                    <a:pt x="110" y="220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/>
            <p:cNvSpPr>
              <a:spLocks noEditPoints="1"/>
            </p:cNvSpPr>
            <p:nvPr/>
          </p:nvSpPr>
          <p:spPr bwMode="auto">
            <a:xfrm>
              <a:off x="2133" y="1503"/>
              <a:ext cx="437" cy="436"/>
            </a:xfrm>
            <a:custGeom>
              <a:avLst/>
              <a:gdLst>
                <a:gd name="T0" fmla="*/ 217 w 873"/>
                <a:gd name="T1" fmla="*/ 218 h 873"/>
                <a:gd name="T2" fmla="*/ 217 w 873"/>
                <a:gd name="T3" fmla="*/ 656 h 873"/>
                <a:gd name="T4" fmla="*/ 654 w 873"/>
                <a:gd name="T5" fmla="*/ 656 h 873"/>
                <a:gd name="T6" fmla="*/ 654 w 873"/>
                <a:gd name="T7" fmla="*/ 218 h 873"/>
                <a:gd name="T8" fmla="*/ 217 w 873"/>
                <a:gd name="T9" fmla="*/ 218 h 873"/>
                <a:gd name="T10" fmla="*/ 107 w 873"/>
                <a:gd name="T11" fmla="*/ 0 h 873"/>
                <a:gd name="T12" fmla="*/ 764 w 873"/>
                <a:gd name="T13" fmla="*/ 0 h 873"/>
                <a:gd name="T14" fmla="*/ 799 w 873"/>
                <a:gd name="T15" fmla="*/ 6 h 873"/>
                <a:gd name="T16" fmla="*/ 829 w 873"/>
                <a:gd name="T17" fmla="*/ 20 h 873"/>
                <a:gd name="T18" fmla="*/ 851 w 873"/>
                <a:gd name="T19" fmla="*/ 44 h 873"/>
                <a:gd name="T20" fmla="*/ 867 w 873"/>
                <a:gd name="T21" fmla="*/ 74 h 873"/>
                <a:gd name="T22" fmla="*/ 873 w 873"/>
                <a:gd name="T23" fmla="*/ 110 h 873"/>
                <a:gd name="T24" fmla="*/ 873 w 873"/>
                <a:gd name="T25" fmla="*/ 766 h 873"/>
                <a:gd name="T26" fmla="*/ 867 w 873"/>
                <a:gd name="T27" fmla="*/ 800 h 873"/>
                <a:gd name="T28" fmla="*/ 851 w 873"/>
                <a:gd name="T29" fmla="*/ 830 h 873"/>
                <a:gd name="T30" fmla="*/ 829 w 873"/>
                <a:gd name="T31" fmla="*/ 854 h 873"/>
                <a:gd name="T32" fmla="*/ 799 w 873"/>
                <a:gd name="T33" fmla="*/ 869 h 873"/>
                <a:gd name="T34" fmla="*/ 764 w 873"/>
                <a:gd name="T35" fmla="*/ 873 h 873"/>
                <a:gd name="T36" fmla="*/ 107 w 873"/>
                <a:gd name="T37" fmla="*/ 873 h 873"/>
                <a:gd name="T38" fmla="*/ 74 w 873"/>
                <a:gd name="T39" fmla="*/ 869 h 873"/>
                <a:gd name="T40" fmla="*/ 44 w 873"/>
                <a:gd name="T41" fmla="*/ 854 h 873"/>
                <a:gd name="T42" fmla="*/ 20 w 873"/>
                <a:gd name="T43" fmla="*/ 830 h 873"/>
                <a:gd name="T44" fmla="*/ 4 w 873"/>
                <a:gd name="T45" fmla="*/ 800 h 873"/>
                <a:gd name="T46" fmla="*/ 0 w 873"/>
                <a:gd name="T47" fmla="*/ 766 h 873"/>
                <a:gd name="T48" fmla="*/ 0 w 873"/>
                <a:gd name="T49" fmla="*/ 110 h 873"/>
                <a:gd name="T50" fmla="*/ 4 w 873"/>
                <a:gd name="T51" fmla="*/ 74 h 873"/>
                <a:gd name="T52" fmla="*/ 20 w 873"/>
                <a:gd name="T53" fmla="*/ 44 h 873"/>
                <a:gd name="T54" fmla="*/ 44 w 873"/>
                <a:gd name="T55" fmla="*/ 20 h 873"/>
                <a:gd name="T56" fmla="*/ 74 w 873"/>
                <a:gd name="T57" fmla="*/ 6 h 873"/>
                <a:gd name="T58" fmla="*/ 107 w 873"/>
                <a:gd name="T59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3">
                  <a:moveTo>
                    <a:pt x="217" y="218"/>
                  </a:moveTo>
                  <a:lnTo>
                    <a:pt x="217" y="656"/>
                  </a:lnTo>
                  <a:lnTo>
                    <a:pt x="654" y="656"/>
                  </a:lnTo>
                  <a:lnTo>
                    <a:pt x="654" y="218"/>
                  </a:lnTo>
                  <a:lnTo>
                    <a:pt x="217" y="218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0"/>
                  </a:lnTo>
                  <a:lnTo>
                    <a:pt x="851" y="44"/>
                  </a:lnTo>
                  <a:lnTo>
                    <a:pt x="867" y="74"/>
                  </a:lnTo>
                  <a:lnTo>
                    <a:pt x="873" y="110"/>
                  </a:lnTo>
                  <a:lnTo>
                    <a:pt x="873" y="766"/>
                  </a:lnTo>
                  <a:lnTo>
                    <a:pt x="867" y="800"/>
                  </a:lnTo>
                  <a:lnTo>
                    <a:pt x="851" y="830"/>
                  </a:lnTo>
                  <a:lnTo>
                    <a:pt x="829" y="854"/>
                  </a:lnTo>
                  <a:lnTo>
                    <a:pt x="799" y="869"/>
                  </a:lnTo>
                  <a:lnTo>
                    <a:pt x="764" y="873"/>
                  </a:lnTo>
                  <a:lnTo>
                    <a:pt x="107" y="873"/>
                  </a:lnTo>
                  <a:lnTo>
                    <a:pt x="74" y="869"/>
                  </a:lnTo>
                  <a:lnTo>
                    <a:pt x="44" y="854"/>
                  </a:lnTo>
                  <a:lnTo>
                    <a:pt x="20" y="830"/>
                  </a:lnTo>
                  <a:lnTo>
                    <a:pt x="4" y="800"/>
                  </a:lnTo>
                  <a:lnTo>
                    <a:pt x="0" y="766"/>
                  </a:lnTo>
                  <a:lnTo>
                    <a:pt x="0" y="110"/>
                  </a:lnTo>
                  <a:lnTo>
                    <a:pt x="4" y="74"/>
                  </a:lnTo>
                  <a:lnTo>
                    <a:pt x="20" y="44"/>
                  </a:lnTo>
                  <a:lnTo>
                    <a:pt x="44" y="20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/>
            <p:cNvSpPr>
              <a:spLocks noEditPoints="1"/>
            </p:cNvSpPr>
            <p:nvPr/>
          </p:nvSpPr>
          <p:spPr bwMode="auto">
            <a:xfrm>
              <a:off x="2133" y="2813"/>
              <a:ext cx="437" cy="438"/>
            </a:xfrm>
            <a:custGeom>
              <a:avLst/>
              <a:gdLst>
                <a:gd name="T0" fmla="*/ 217 w 873"/>
                <a:gd name="T1" fmla="*/ 219 h 875"/>
                <a:gd name="T2" fmla="*/ 217 w 873"/>
                <a:gd name="T3" fmla="*/ 655 h 875"/>
                <a:gd name="T4" fmla="*/ 654 w 873"/>
                <a:gd name="T5" fmla="*/ 655 h 875"/>
                <a:gd name="T6" fmla="*/ 654 w 873"/>
                <a:gd name="T7" fmla="*/ 219 h 875"/>
                <a:gd name="T8" fmla="*/ 217 w 873"/>
                <a:gd name="T9" fmla="*/ 219 h 875"/>
                <a:gd name="T10" fmla="*/ 107 w 873"/>
                <a:gd name="T11" fmla="*/ 0 h 875"/>
                <a:gd name="T12" fmla="*/ 764 w 873"/>
                <a:gd name="T13" fmla="*/ 0 h 875"/>
                <a:gd name="T14" fmla="*/ 799 w 873"/>
                <a:gd name="T15" fmla="*/ 6 h 875"/>
                <a:gd name="T16" fmla="*/ 829 w 873"/>
                <a:gd name="T17" fmla="*/ 22 h 875"/>
                <a:gd name="T18" fmla="*/ 851 w 873"/>
                <a:gd name="T19" fmla="*/ 45 h 875"/>
                <a:gd name="T20" fmla="*/ 867 w 873"/>
                <a:gd name="T21" fmla="*/ 75 h 875"/>
                <a:gd name="T22" fmla="*/ 873 w 873"/>
                <a:gd name="T23" fmla="*/ 109 h 875"/>
                <a:gd name="T24" fmla="*/ 873 w 873"/>
                <a:gd name="T25" fmla="*/ 765 h 875"/>
                <a:gd name="T26" fmla="*/ 867 w 873"/>
                <a:gd name="T27" fmla="*/ 799 h 875"/>
                <a:gd name="T28" fmla="*/ 851 w 873"/>
                <a:gd name="T29" fmla="*/ 829 h 875"/>
                <a:gd name="T30" fmla="*/ 829 w 873"/>
                <a:gd name="T31" fmla="*/ 853 h 875"/>
                <a:gd name="T32" fmla="*/ 799 w 873"/>
                <a:gd name="T33" fmla="*/ 869 h 875"/>
                <a:gd name="T34" fmla="*/ 764 w 873"/>
                <a:gd name="T35" fmla="*/ 875 h 875"/>
                <a:gd name="T36" fmla="*/ 107 w 873"/>
                <a:gd name="T37" fmla="*/ 875 h 875"/>
                <a:gd name="T38" fmla="*/ 74 w 873"/>
                <a:gd name="T39" fmla="*/ 869 h 875"/>
                <a:gd name="T40" fmla="*/ 44 w 873"/>
                <a:gd name="T41" fmla="*/ 853 h 875"/>
                <a:gd name="T42" fmla="*/ 20 w 873"/>
                <a:gd name="T43" fmla="*/ 829 h 875"/>
                <a:gd name="T44" fmla="*/ 4 w 873"/>
                <a:gd name="T45" fmla="*/ 799 h 875"/>
                <a:gd name="T46" fmla="*/ 0 w 873"/>
                <a:gd name="T47" fmla="*/ 765 h 875"/>
                <a:gd name="T48" fmla="*/ 0 w 873"/>
                <a:gd name="T49" fmla="*/ 109 h 875"/>
                <a:gd name="T50" fmla="*/ 4 w 873"/>
                <a:gd name="T51" fmla="*/ 75 h 875"/>
                <a:gd name="T52" fmla="*/ 20 w 873"/>
                <a:gd name="T53" fmla="*/ 45 h 875"/>
                <a:gd name="T54" fmla="*/ 44 w 873"/>
                <a:gd name="T55" fmla="*/ 22 h 875"/>
                <a:gd name="T56" fmla="*/ 74 w 873"/>
                <a:gd name="T57" fmla="*/ 6 h 875"/>
                <a:gd name="T58" fmla="*/ 107 w 873"/>
                <a:gd name="T59" fmla="*/ 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5">
                  <a:moveTo>
                    <a:pt x="217" y="219"/>
                  </a:moveTo>
                  <a:lnTo>
                    <a:pt x="217" y="655"/>
                  </a:lnTo>
                  <a:lnTo>
                    <a:pt x="654" y="655"/>
                  </a:lnTo>
                  <a:lnTo>
                    <a:pt x="654" y="219"/>
                  </a:lnTo>
                  <a:lnTo>
                    <a:pt x="217" y="219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2"/>
                  </a:lnTo>
                  <a:lnTo>
                    <a:pt x="851" y="45"/>
                  </a:lnTo>
                  <a:lnTo>
                    <a:pt x="867" y="75"/>
                  </a:lnTo>
                  <a:lnTo>
                    <a:pt x="873" y="109"/>
                  </a:lnTo>
                  <a:lnTo>
                    <a:pt x="873" y="765"/>
                  </a:lnTo>
                  <a:lnTo>
                    <a:pt x="867" y="799"/>
                  </a:lnTo>
                  <a:lnTo>
                    <a:pt x="851" y="829"/>
                  </a:lnTo>
                  <a:lnTo>
                    <a:pt x="829" y="853"/>
                  </a:lnTo>
                  <a:lnTo>
                    <a:pt x="799" y="869"/>
                  </a:lnTo>
                  <a:lnTo>
                    <a:pt x="764" y="875"/>
                  </a:lnTo>
                  <a:lnTo>
                    <a:pt x="107" y="875"/>
                  </a:lnTo>
                  <a:lnTo>
                    <a:pt x="74" y="869"/>
                  </a:lnTo>
                  <a:lnTo>
                    <a:pt x="44" y="853"/>
                  </a:lnTo>
                  <a:lnTo>
                    <a:pt x="20" y="829"/>
                  </a:lnTo>
                  <a:lnTo>
                    <a:pt x="4" y="799"/>
                  </a:lnTo>
                  <a:lnTo>
                    <a:pt x="0" y="765"/>
                  </a:lnTo>
                  <a:lnTo>
                    <a:pt x="0" y="109"/>
                  </a:lnTo>
                  <a:lnTo>
                    <a:pt x="4" y="75"/>
                  </a:lnTo>
                  <a:lnTo>
                    <a:pt x="20" y="45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/>
            <p:cNvSpPr>
              <a:spLocks/>
            </p:cNvSpPr>
            <p:nvPr/>
          </p:nvSpPr>
          <p:spPr bwMode="auto">
            <a:xfrm>
              <a:off x="2133" y="2159"/>
              <a:ext cx="437" cy="436"/>
            </a:xfrm>
            <a:custGeom>
              <a:avLst/>
              <a:gdLst>
                <a:gd name="T0" fmla="*/ 770 w 873"/>
                <a:gd name="T1" fmla="*/ 0 h 873"/>
                <a:gd name="T2" fmla="*/ 797 w 873"/>
                <a:gd name="T3" fmla="*/ 4 h 873"/>
                <a:gd name="T4" fmla="*/ 825 w 873"/>
                <a:gd name="T5" fmla="*/ 18 h 873"/>
                <a:gd name="T6" fmla="*/ 847 w 873"/>
                <a:gd name="T7" fmla="*/ 36 h 873"/>
                <a:gd name="T8" fmla="*/ 861 w 873"/>
                <a:gd name="T9" fmla="*/ 60 h 873"/>
                <a:gd name="T10" fmla="*/ 871 w 873"/>
                <a:gd name="T11" fmla="*/ 88 h 873"/>
                <a:gd name="T12" fmla="*/ 873 w 873"/>
                <a:gd name="T13" fmla="*/ 116 h 873"/>
                <a:gd name="T14" fmla="*/ 867 w 873"/>
                <a:gd name="T15" fmla="*/ 144 h 873"/>
                <a:gd name="T16" fmla="*/ 855 w 873"/>
                <a:gd name="T17" fmla="*/ 169 h 873"/>
                <a:gd name="T18" fmla="*/ 419 w 873"/>
                <a:gd name="T19" fmla="*/ 825 h 873"/>
                <a:gd name="T20" fmla="*/ 397 w 873"/>
                <a:gd name="T21" fmla="*/ 849 h 873"/>
                <a:gd name="T22" fmla="*/ 369 w 873"/>
                <a:gd name="T23" fmla="*/ 865 h 873"/>
                <a:gd name="T24" fmla="*/ 337 w 873"/>
                <a:gd name="T25" fmla="*/ 873 h 873"/>
                <a:gd name="T26" fmla="*/ 327 w 873"/>
                <a:gd name="T27" fmla="*/ 873 h 873"/>
                <a:gd name="T28" fmla="*/ 299 w 873"/>
                <a:gd name="T29" fmla="*/ 869 h 873"/>
                <a:gd name="T30" fmla="*/ 273 w 873"/>
                <a:gd name="T31" fmla="*/ 859 h 873"/>
                <a:gd name="T32" fmla="*/ 249 w 873"/>
                <a:gd name="T33" fmla="*/ 841 h 873"/>
                <a:gd name="T34" fmla="*/ 32 w 873"/>
                <a:gd name="T35" fmla="*/ 622 h 873"/>
                <a:gd name="T36" fmla="*/ 14 w 873"/>
                <a:gd name="T37" fmla="*/ 600 h 873"/>
                <a:gd name="T38" fmla="*/ 2 w 873"/>
                <a:gd name="T39" fmla="*/ 574 h 873"/>
                <a:gd name="T40" fmla="*/ 0 w 873"/>
                <a:gd name="T41" fmla="*/ 546 h 873"/>
                <a:gd name="T42" fmla="*/ 2 w 873"/>
                <a:gd name="T43" fmla="*/ 518 h 873"/>
                <a:gd name="T44" fmla="*/ 14 w 873"/>
                <a:gd name="T45" fmla="*/ 492 h 873"/>
                <a:gd name="T46" fmla="*/ 32 w 873"/>
                <a:gd name="T47" fmla="*/ 468 h 873"/>
                <a:gd name="T48" fmla="*/ 54 w 873"/>
                <a:gd name="T49" fmla="*/ 451 h 873"/>
                <a:gd name="T50" fmla="*/ 80 w 873"/>
                <a:gd name="T51" fmla="*/ 441 h 873"/>
                <a:gd name="T52" fmla="*/ 107 w 873"/>
                <a:gd name="T53" fmla="*/ 437 h 873"/>
                <a:gd name="T54" fmla="*/ 135 w 873"/>
                <a:gd name="T55" fmla="*/ 441 h 873"/>
                <a:gd name="T56" fmla="*/ 161 w 873"/>
                <a:gd name="T57" fmla="*/ 451 h 873"/>
                <a:gd name="T58" fmla="*/ 185 w 873"/>
                <a:gd name="T59" fmla="*/ 468 h 873"/>
                <a:gd name="T60" fmla="*/ 309 w 873"/>
                <a:gd name="T61" fmla="*/ 592 h 873"/>
                <a:gd name="T62" fmla="*/ 674 w 873"/>
                <a:gd name="T63" fmla="*/ 48 h 873"/>
                <a:gd name="T64" fmla="*/ 692 w 873"/>
                <a:gd name="T65" fmla="*/ 26 h 873"/>
                <a:gd name="T66" fmla="*/ 716 w 873"/>
                <a:gd name="T67" fmla="*/ 10 h 873"/>
                <a:gd name="T68" fmla="*/ 742 w 873"/>
                <a:gd name="T69" fmla="*/ 2 h 873"/>
                <a:gd name="T70" fmla="*/ 770 w 873"/>
                <a:gd name="T7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3" h="873">
                  <a:moveTo>
                    <a:pt x="770" y="0"/>
                  </a:moveTo>
                  <a:lnTo>
                    <a:pt x="797" y="4"/>
                  </a:lnTo>
                  <a:lnTo>
                    <a:pt x="825" y="18"/>
                  </a:lnTo>
                  <a:lnTo>
                    <a:pt x="847" y="36"/>
                  </a:lnTo>
                  <a:lnTo>
                    <a:pt x="861" y="60"/>
                  </a:lnTo>
                  <a:lnTo>
                    <a:pt x="871" y="88"/>
                  </a:lnTo>
                  <a:lnTo>
                    <a:pt x="873" y="116"/>
                  </a:lnTo>
                  <a:lnTo>
                    <a:pt x="867" y="144"/>
                  </a:lnTo>
                  <a:lnTo>
                    <a:pt x="855" y="169"/>
                  </a:lnTo>
                  <a:lnTo>
                    <a:pt x="419" y="825"/>
                  </a:lnTo>
                  <a:lnTo>
                    <a:pt x="397" y="849"/>
                  </a:lnTo>
                  <a:lnTo>
                    <a:pt x="369" y="865"/>
                  </a:lnTo>
                  <a:lnTo>
                    <a:pt x="337" y="873"/>
                  </a:lnTo>
                  <a:lnTo>
                    <a:pt x="327" y="873"/>
                  </a:lnTo>
                  <a:lnTo>
                    <a:pt x="299" y="869"/>
                  </a:lnTo>
                  <a:lnTo>
                    <a:pt x="273" y="859"/>
                  </a:lnTo>
                  <a:lnTo>
                    <a:pt x="249" y="841"/>
                  </a:lnTo>
                  <a:lnTo>
                    <a:pt x="32" y="622"/>
                  </a:lnTo>
                  <a:lnTo>
                    <a:pt x="14" y="600"/>
                  </a:lnTo>
                  <a:lnTo>
                    <a:pt x="2" y="574"/>
                  </a:lnTo>
                  <a:lnTo>
                    <a:pt x="0" y="546"/>
                  </a:lnTo>
                  <a:lnTo>
                    <a:pt x="2" y="518"/>
                  </a:lnTo>
                  <a:lnTo>
                    <a:pt x="14" y="492"/>
                  </a:lnTo>
                  <a:lnTo>
                    <a:pt x="32" y="468"/>
                  </a:lnTo>
                  <a:lnTo>
                    <a:pt x="54" y="451"/>
                  </a:lnTo>
                  <a:lnTo>
                    <a:pt x="80" y="441"/>
                  </a:lnTo>
                  <a:lnTo>
                    <a:pt x="107" y="437"/>
                  </a:lnTo>
                  <a:lnTo>
                    <a:pt x="135" y="441"/>
                  </a:lnTo>
                  <a:lnTo>
                    <a:pt x="161" y="451"/>
                  </a:lnTo>
                  <a:lnTo>
                    <a:pt x="185" y="468"/>
                  </a:lnTo>
                  <a:lnTo>
                    <a:pt x="309" y="592"/>
                  </a:lnTo>
                  <a:lnTo>
                    <a:pt x="674" y="48"/>
                  </a:lnTo>
                  <a:lnTo>
                    <a:pt x="692" y="26"/>
                  </a:lnTo>
                  <a:lnTo>
                    <a:pt x="716" y="10"/>
                  </a:lnTo>
                  <a:lnTo>
                    <a:pt x="742" y="2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226</TotalTime>
  <Words>367</Words>
  <Application>Microsoft Office PowerPoint</Application>
  <PresentationFormat>On-screen Show (4:3)</PresentationFormat>
  <Paragraphs>217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Calibri</vt:lpstr>
      <vt:lpstr>Technika-Bold</vt:lpstr>
      <vt:lpstr>Technika</vt:lpstr>
      <vt:lpstr>Arial</vt:lpstr>
      <vt:lpstr>PowerPoint_CS</vt:lpstr>
      <vt:lpstr>think-cell Slide</vt:lpstr>
      <vt:lpstr>Project CASA: Final Project Presentation</vt:lpstr>
      <vt:lpstr>Goals for this Meeting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4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17</cp:revision>
  <cp:lastPrinted>2017-03-01T18:10:55Z</cp:lastPrinted>
  <dcterms:created xsi:type="dcterms:W3CDTF">2016-12-15T15:45:09Z</dcterms:created>
  <dcterms:modified xsi:type="dcterms:W3CDTF">2017-05-08T10:25:14Z</dcterms:modified>
</cp:coreProperties>
</file>